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docMetadata/LabelInfo.xml" ContentType="application/vnd.ms-office.classificationlabel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changesInfos/changesInfo1.xml" ContentType="application/vnd.ms-powerpoint.changesinfo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viewProps.xml" ContentType="application/vnd.openxmlformats-officedocument.presentationml.viewProp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79" r:id="rId2"/>
    <p:sldId id="280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ul Carey" initials="PC" lastIdx="1" clrIdx="0">
    <p:extLst>
      <p:ext uri="{19B8F6BF-5375-455C-9EA6-DF929625EA0E}">
        <p15:presenceInfo xmlns:p15="http://schemas.microsoft.com/office/powerpoint/2012/main" userId="S-1-5-21-1017836254-511648046-1312564413-138963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954" y="3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12" Type="http://schemas.openxmlformats.org/officeDocument/2006/relationships/customXml" Target="../customXml/item3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11" Type="http://schemas.openxmlformats.org/officeDocument/2006/relationships/customXml" Target="../customXml/item2.xml"/><Relationship Id="rId5" Type="http://schemas.openxmlformats.org/officeDocument/2006/relationships/presProps" Target="presProps.xml"/><Relationship Id="rId10" Type="http://schemas.openxmlformats.org/officeDocument/2006/relationships/customXml" Target="../customXml/item1.xml"/><Relationship Id="rId4" Type="http://schemas.openxmlformats.org/officeDocument/2006/relationships/commentAuthors" Target="commentAuthors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son Barker" userId="120df167-7872-4f45-bbbb-fbee3a0bb1a4" providerId="ADAL" clId="{A364ADBB-A6DC-438C-9999-07C667E7986C}"/>
    <pc:docChg chg="custSel modSld">
      <pc:chgData name="Jason Barker" userId="120df167-7872-4f45-bbbb-fbee3a0bb1a4" providerId="ADAL" clId="{A364ADBB-A6DC-438C-9999-07C667E7986C}" dt="2026-04-01T06:27:50.619" v="72" actId="14100"/>
      <pc:docMkLst>
        <pc:docMk/>
      </pc:docMkLst>
      <pc:sldChg chg="addSp delSp modSp mod">
        <pc:chgData name="Jason Barker" userId="120df167-7872-4f45-bbbb-fbee3a0bb1a4" providerId="ADAL" clId="{A364ADBB-A6DC-438C-9999-07C667E7986C}" dt="2026-03-24T10:47:29.626" v="29" actId="14100"/>
        <pc:sldMkLst>
          <pc:docMk/>
          <pc:sldMk cId="1562269887" sldId="267"/>
        </pc:sldMkLst>
        <pc:picChg chg="add mod">
          <ac:chgData name="Jason Barker" userId="120df167-7872-4f45-bbbb-fbee3a0bb1a4" providerId="ADAL" clId="{A364ADBB-A6DC-438C-9999-07C667E7986C}" dt="2026-03-24T10:47:29.626" v="29" actId="14100"/>
          <ac:picMkLst>
            <pc:docMk/>
            <pc:sldMk cId="1562269887" sldId="267"/>
            <ac:picMk id="3" creationId="{9B45A3EF-4726-77F1-0381-A163B55BAF2D}"/>
          </ac:picMkLst>
        </pc:picChg>
      </pc:sldChg>
      <pc:sldChg chg="addSp delSp modSp mod">
        <pc:chgData name="Jason Barker" userId="120df167-7872-4f45-bbbb-fbee3a0bb1a4" providerId="ADAL" clId="{A364ADBB-A6DC-438C-9999-07C667E7986C}" dt="2026-03-24T10:51:40.236" v="43" actId="14100"/>
        <pc:sldMkLst>
          <pc:docMk/>
          <pc:sldMk cId="2439041899" sldId="269"/>
        </pc:sldMkLst>
        <pc:picChg chg="add mod">
          <ac:chgData name="Jason Barker" userId="120df167-7872-4f45-bbbb-fbee3a0bb1a4" providerId="ADAL" clId="{A364ADBB-A6DC-438C-9999-07C667E7986C}" dt="2026-03-24T10:51:40.236" v="43" actId="14100"/>
          <ac:picMkLst>
            <pc:docMk/>
            <pc:sldMk cId="2439041899" sldId="269"/>
            <ac:picMk id="3" creationId="{B1B02270-33AF-395A-CD68-2A28C00B1BAE}"/>
          </ac:picMkLst>
        </pc:picChg>
      </pc:sldChg>
      <pc:sldChg chg="addSp delSp modSp mod">
        <pc:chgData name="Jason Barker" userId="120df167-7872-4f45-bbbb-fbee3a0bb1a4" providerId="ADAL" clId="{A364ADBB-A6DC-438C-9999-07C667E7986C}" dt="2026-03-24T11:09:01.746" v="47" actId="14100"/>
        <pc:sldMkLst>
          <pc:docMk/>
          <pc:sldMk cId="1127961193" sldId="270"/>
        </pc:sldMkLst>
        <pc:picChg chg="add mod">
          <ac:chgData name="Jason Barker" userId="120df167-7872-4f45-bbbb-fbee3a0bb1a4" providerId="ADAL" clId="{A364ADBB-A6DC-438C-9999-07C667E7986C}" dt="2026-03-24T11:09:01.746" v="47" actId="14100"/>
          <ac:picMkLst>
            <pc:docMk/>
            <pc:sldMk cId="1127961193" sldId="270"/>
            <ac:picMk id="3" creationId="{925F220A-5B74-E94C-8FD3-CA02AD944949}"/>
          </ac:picMkLst>
        </pc:picChg>
      </pc:sldChg>
      <pc:sldChg chg="addSp delSp modSp mod">
        <pc:chgData name="Jason Barker" userId="120df167-7872-4f45-bbbb-fbee3a0bb1a4" providerId="ADAL" clId="{A364ADBB-A6DC-438C-9999-07C667E7986C}" dt="2026-03-25T07:13:48.892" v="51" actId="14100"/>
        <pc:sldMkLst>
          <pc:docMk/>
          <pc:sldMk cId="3767504818" sldId="271"/>
        </pc:sldMkLst>
        <pc:picChg chg="add mod">
          <ac:chgData name="Jason Barker" userId="120df167-7872-4f45-bbbb-fbee3a0bb1a4" providerId="ADAL" clId="{A364ADBB-A6DC-438C-9999-07C667E7986C}" dt="2026-03-25T07:13:48.892" v="51" actId="14100"/>
          <ac:picMkLst>
            <pc:docMk/>
            <pc:sldMk cId="3767504818" sldId="271"/>
            <ac:picMk id="3" creationId="{E5AF37EB-BA14-9C55-3450-3ADDEB519275}"/>
          </ac:picMkLst>
        </pc:picChg>
      </pc:sldChg>
      <pc:sldChg chg="addSp delSp modSp mod">
        <pc:chgData name="Jason Barker" userId="120df167-7872-4f45-bbbb-fbee3a0bb1a4" providerId="ADAL" clId="{A364ADBB-A6DC-438C-9999-07C667E7986C}" dt="2026-03-26T13:44:06.934" v="55" actId="14100"/>
        <pc:sldMkLst>
          <pc:docMk/>
          <pc:sldMk cId="1182794937" sldId="272"/>
        </pc:sldMkLst>
        <pc:picChg chg="add mod">
          <ac:chgData name="Jason Barker" userId="120df167-7872-4f45-bbbb-fbee3a0bb1a4" providerId="ADAL" clId="{A364ADBB-A6DC-438C-9999-07C667E7986C}" dt="2026-03-26T13:44:06.934" v="55" actId="14100"/>
          <ac:picMkLst>
            <pc:docMk/>
            <pc:sldMk cId="1182794937" sldId="272"/>
            <ac:picMk id="3" creationId="{5FB8FCE5-A18B-7939-F457-2367CF28F084}"/>
          </ac:picMkLst>
        </pc:picChg>
      </pc:sldChg>
      <pc:sldChg chg="addSp delSp modSp mod">
        <pc:chgData name="Jason Barker" userId="120df167-7872-4f45-bbbb-fbee3a0bb1a4" providerId="ADAL" clId="{A364ADBB-A6DC-438C-9999-07C667E7986C}" dt="2026-03-26T13:50:44.936" v="64" actId="14100"/>
        <pc:sldMkLst>
          <pc:docMk/>
          <pc:sldMk cId="177295726" sldId="273"/>
        </pc:sldMkLst>
        <pc:picChg chg="add mod">
          <ac:chgData name="Jason Barker" userId="120df167-7872-4f45-bbbb-fbee3a0bb1a4" providerId="ADAL" clId="{A364ADBB-A6DC-438C-9999-07C667E7986C}" dt="2026-03-26T13:50:44.936" v="64" actId="14100"/>
          <ac:picMkLst>
            <pc:docMk/>
            <pc:sldMk cId="177295726" sldId="273"/>
            <ac:picMk id="3" creationId="{35DE547F-F714-7447-2814-38D9AE6F89C7}"/>
          </ac:picMkLst>
        </pc:picChg>
      </pc:sldChg>
      <pc:sldChg chg="addSp delSp modSp mod">
        <pc:chgData name="Jason Barker" userId="120df167-7872-4f45-bbbb-fbee3a0bb1a4" providerId="ADAL" clId="{A364ADBB-A6DC-438C-9999-07C667E7986C}" dt="2026-03-26T13:48:40.586" v="60" actId="1076"/>
        <pc:sldMkLst>
          <pc:docMk/>
          <pc:sldMk cId="2357845329" sldId="274"/>
        </pc:sldMkLst>
        <pc:picChg chg="add mod">
          <ac:chgData name="Jason Barker" userId="120df167-7872-4f45-bbbb-fbee3a0bb1a4" providerId="ADAL" clId="{A364ADBB-A6DC-438C-9999-07C667E7986C}" dt="2026-03-26T13:48:40.586" v="60" actId="1076"/>
          <ac:picMkLst>
            <pc:docMk/>
            <pc:sldMk cId="2357845329" sldId="274"/>
            <ac:picMk id="3" creationId="{8E22AA08-E3AF-90AA-C46C-2E228B436BC4}"/>
          </ac:picMkLst>
        </pc:picChg>
      </pc:sldChg>
      <pc:sldChg chg="addSp delSp modSp mod">
        <pc:chgData name="Jason Barker" userId="120df167-7872-4f45-bbbb-fbee3a0bb1a4" providerId="ADAL" clId="{A364ADBB-A6DC-438C-9999-07C667E7986C}" dt="2026-03-30T06:23:26.910" v="70" actId="1076"/>
        <pc:sldMkLst>
          <pc:docMk/>
          <pc:sldMk cId="917974385" sldId="275"/>
        </pc:sldMkLst>
        <pc:picChg chg="add mod">
          <ac:chgData name="Jason Barker" userId="120df167-7872-4f45-bbbb-fbee3a0bb1a4" providerId="ADAL" clId="{A364ADBB-A6DC-438C-9999-07C667E7986C}" dt="2026-03-30T06:23:26.910" v="70" actId="1076"/>
          <ac:picMkLst>
            <pc:docMk/>
            <pc:sldMk cId="917974385" sldId="275"/>
            <ac:picMk id="3" creationId="{57F1B020-A9C9-99A9-57FD-78E6433BC0D1}"/>
          </ac:picMkLst>
        </pc:picChg>
      </pc:sldChg>
      <pc:sldChg chg="addSp delSp modSp mod">
        <pc:chgData name="Jason Barker" userId="120df167-7872-4f45-bbbb-fbee3a0bb1a4" providerId="ADAL" clId="{A364ADBB-A6DC-438C-9999-07C667E7986C}" dt="2026-03-27T09:42:41.537" v="67" actId="1076"/>
        <pc:sldMkLst>
          <pc:docMk/>
          <pc:sldMk cId="2641720044" sldId="276"/>
        </pc:sldMkLst>
        <pc:picChg chg="add mod">
          <ac:chgData name="Jason Barker" userId="120df167-7872-4f45-bbbb-fbee3a0bb1a4" providerId="ADAL" clId="{A364ADBB-A6DC-438C-9999-07C667E7986C}" dt="2026-03-27T09:42:41.537" v="67" actId="1076"/>
          <ac:picMkLst>
            <pc:docMk/>
            <pc:sldMk cId="2641720044" sldId="276"/>
            <ac:picMk id="3" creationId="{063F7F56-036A-5259-D027-C475BDDAFA55}"/>
          </ac:picMkLst>
        </pc:picChg>
      </pc:sldChg>
      <pc:sldChg chg="addSp delSp modSp mod">
        <pc:chgData name="Jason Barker" userId="120df167-7872-4f45-bbbb-fbee3a0bb1a4" providerId="ADAL" clId="{A364ADBB-A6DC-438C-9999-07C667E7986C}" dt="2026-04-01T06:27:50.619" v="72" actId="14100"/>
        <pc:sldMkLst>
          <pc:docMk/>
          <pc:sldMk cId="1282906595" sldId="277"/>
        </pc:sldMkLst>
        <pc:picChg chg="add mod">
          <ac:chgData name="Jason Barker" userId="120df167-7872-4f45-bbbb-fbee3a0bb1a4" providerId="ADAL" clId="{A364ADBB-A6DC-438C-9999-07C667E7986C}" dt="2026-04-01T06:27:50.619" v="72" actId="14100"/>
          <ac:picMkLst>
            <pc:docMk/>
            <pc:sldMk cId="1282906595" sldId="277"/>
            <ac:picMk id="3" creationId="{041B13A6-DC35-3BF8-1B6D-9B69AF27ADA9}"/>
          </ac:picMkLst>
        </pc:picChg>
      </pc:sldChg>
      <pc:sldChg chg="addSp delSp modSp mod">
        <pc:chgData name="Jason Barker" userId="120df167-7872-4f45-bbbb-fbee3a0bb1a4" providerId="ADAL" clId="{A364ADBB-A6DC-438C-9999-07C667E7986C}" dt="2026-03-24T10:45:05.798" v="21" actId="1076"/>
        <pc:sldMkLst>
          <pc:docMk/>
          <pc:sldMk cId="3422439160" sldId="279"/>
        </pc:sldMkLst>
      </pc:sldChg>
    </pc:docChg>
  </pc:docChgLst>
  <pc:docChgLst>
    <pc:chgData name="Sonny Netto" userId="366aef99-1f52-4a5a-ac1f-7d12c52fbf6c" providerId="ADAL" clId="{DC983714-AE8B-4A51-95A9-4BCCDDC1676F}"/>
    <pc:docChg chg="custSel delSld modSld">
      <pc:chgData name="Sonny Netto" userId="366aef99-1f52-4a5a-ac1f-7d12c52fbf6c" providerId="ADAL" clId="{DC983714-AE8B-4A51-95A9-4BCCDDC1676F}" dt="2026-04-15T07:26:12.570" v="13" actId="47"/>
      <pc:docMkLst>
        <pc:docMk/>
      </pc:docMkLst>
      <pc:sldChg chg="del">
        <pc:chgData name="Sonny Netto" userId="366aef99-1f52-4a5a-ac1f-7d12c52fbf6c" providerId="ADAL" clId="{DC983714-AE8B-4A51-95A9-4BCCDDC1676F}" dt="2026-04-15T07:26:02.558" v="1" actId="47"/>
        <pc:sldMkLst>
          <pc:docMk/>
          <pc:sldMk cId="4222494522" sldId="266"/>
        </pc:sldMkLst>
      </pc:sldChg>
      <pc:sldChg chg="del">
        <pc:chgData name="Sonny Netto" userId="366aef99-1f52-4a5a-ac1f-7d12c52fbf6c" providerId="ADAL" clId="{DC983714-AE8B-4A51-95A9-4BCCDDC1676F}" dt="2026-04-15T07:26:04.243" v="3" actId="47"/>
        <pc:sldMkLst>
          <pc:docMk/>
          <pc:sldMk cId="1562269887" sldId="267"/>
        </pc:sldMkLst>
      </pc:sldChg>
      <pc:sldChg chg="del">
        <pc:chgData name="Sonny Netto" userId="366aef99-1f52-4a5a-ac1f-7d12c52fbf6c" providerId="ADAL" clId="{DC983714-AE8B-4A51-95A9-4BCCDDC1676F}" dt="2026-04-15T07:26:03.555" v="2" actId="47"/>
        <pc:sldMkLst>
          <pc:docMk/>
          <pc:sldMk cId="4118028545" sldId="268"/>
        </pc:sldMkLst>
      </pc:sldChg>
      <pc:sldChg chg="del">
        <pc:chgData name="Sonny Netto" userId="366aef99-1f52-4a5a-ac1f-7d12c52fbf6c" providerId="ADAL" clId="{DC983714-AE8B-4A51-95A9-4BCCDDC1676F}" dt="2026-04-15T07:26:05.491" v="5" actId="47"/>
        <pc:sldMkLst>
          <pc:docMk/>
          <pc:sldMk cId="2439041899" sldId="269"/>
        </pc:sldMkLst>
      </pc:sldChg>
      <pc:sldChg chg="del">
        <pc:chgData name="Sonny Netto" userId="366aef99-1f52-4a5a-ac1f-7d12c52fbf6c" providerId="ADAL" clId="{DC983714-AE8B-4A51-95A9-4BCCDDC1676F}" dt="2026-04-15T07:26:04.778" v="4" actId="47"/>
        <pc:sldMkLst>
          <pc:docMk/>
          <pc:sldMk cId="1127961193" sldId="270"/>
        </pc:sldMkLst>
      </pc:sldChg>
      <pc:sldChg chg="del">
        <pc:chgData name="Sonny Netto" userId="366aef99-1f52-4a5a-ac1f-7d12c52fbf6c" providerId="ADAL" clId="{DC983714-AE8B-4A51-95A9-4BCCDDC1676F}" dt="2026-04-15T07:26:06.438" v="6" actId="47"/>
        <pc:sldMkLst>
          <pc:docMk/>
          <pc:sldMk cId="3767504818" sldId="271"/>
        </pc:sldMkLst>
      </pc:sldChg>
      <pc:sldChg chg="del">
        <pc:chgData name="Sonny Netto" userId="366aef99-1f52-4a5a-ac1f-7d12c52fbf6c" providerId="ADAL" clId="{DC983714-AE8B-4A51-95A9-4BCCDDC1676F}" dt="2026-04-15T07:26:08.034" v="8" actId="47"/>
        <pc:sldMkLst>
          <pc:docMk/>
          <pc:sldMk cId="1182794937" sldId="272"/>
        </pc:sldMkLst>
      </pc:sldChg>
      <pc:sldChg chg="del">
        <pc:chgData name="Sonny Netto" userId="366aef99-1f52-4a5a-ac1f-7d12c52fbf6c" providerId="ADAL" clId="{DC983714-AE8B-4A51-95A9-4BCCDDC1676F}" dt="2026-04-15T07:26:09.203" v="9" actId="47"/>
        <pc:sldMkLst>
          <pc:docMk/>
          <pc:sldMk cId="177295726" sldId="273"/>
        </pc:sldMkLst>
      </pc:sldChg>
      <pc:sldChg chg="del">
        <pc:chgData name="Sonny Netto" userId="366aef99-1f52-4a5a-ac1f-7d12c52fbf6c" providerId="ADAL" clId="{DC983714-AE8B-4A51-95A9-4BCCDDC1676F}" dt="2026-04-15T07:26:07.305" v="7" actId="47"/>
        <pc:sldMkLst>
          <pc:docMk/>
          <pc:sldMk cId="2357845329" sldId="274"/>
        </pc:sldMkLst>
      </pc:sldChg>
      <pc:sldChg chg="del">
        <pc:chgData name="Sonny Netto" userId="366aef99-1f52-4a5a-ac1f-7d12c52fbf6c" providerId="ADAL" clId="{DC983714-AE8B-4A51-95A9-4BCCDDC1676F}" dt="2026-04-15T07:26:10.186" v="10" actId="47"/>
        <pc:sldMkLst>
          <pc:docMk/>
          <pc:sldMk cId="917974385" sldId="275"/>
        </pc:sldMkLst>
      </pc:sldChg>
      <pc:sldChg chg="del">
        <pc:chgData name="Sonny Netto" userId="366aef99-1f52-4a5a-ac1f-7d12c52fbf6c" providerId="ADAL" clId="{DC983714-AE8B-4A51-95A9-4BCCDDC1676F}" dt="2026-04-15T07:26:10.789" v="11" actId="47"/>
        <pc:sldMkLst>
          <pc:docMk/>
          <pc:sldMk cId="2641720044" sldId="276"/>
        </pc:sldMkLst>
      </pc:sldChg>
      <pc:sldChg chg="del">
        <pc:chgData name="Sonny Netto" userId="366aef99-1f52-4a5a-ac1f-7d12c52fbf6c" providerId="ADAL" clId="{DC983714-AE8B-4A51-95A9-4BCCDDC1676F}" dt="2026-04-15T07:26:11.530" v="12" actId="47"/>
        <pc:sldMkLst>
          <pc:docMk/>
          <pc:sldMk cId="1282906595" sldId="277"/>
        </pc:sldMkLst>
      </pc:sldChg>
      <pc:sldChg chg="del">
        <pc:chgData name="Sonny Netto" userId="366aef99-1f52-4a5a-ac1f-7d12c52fbf6c" providerId="ADAL" clId="{DC983714-AE8B-4A51-95A9-4BCCDDC1676F}" dt="2026-04-15T07:26:12.570" v="13" actId="47"/>
        <pc:sldMkLst>
          <pc:docMk/>
          <pc:sldMk cId="1157444882" sldId="278"/>
        </pc:sldMkLst>
      </pc:sldChg>
      <pc:sldChg chg="delSp mod">
        <pc:chgData name="Sonny Netto" userId="366aef99-1f52-4a5a-ac1f-7d12c52fbf6c" providerId="ADAL" clId="{DC983714-AE8B-4A51-95A9-4BCCDDC1676F}" dt="2026-04-15T07:26:00.612" v="0" actId="478"/>
        <pc:sldMkLst>
          <pc:docMk/>
          <pc:sldMk cId="3422439160" sldId="279"/>
        </pc:sldMkLst>
        <pc:picChg chg="del">
          <ac:chgData name="Sonny Netto" userId="366aef99-1f52-4a5a-ac1f-7d12c52fbf6c" providerId="ADAL" clId="{DC983714-AE8B-4A51-95A9-4BCCDDC1676F}" dt="2026-04-15T07:26:00.612" v="0" actId="478"/>
          <ac:picMkLst>
            <pc:docMk/>
            <pc:sldMk cId="3422439160" sldId="279"/>
            <ac:picMk id="3" creationId="{9CFE6033-4E02-2BF5-91AD-AF921527F20B}"/>
          </ac:picMkLst>
        </pc:pic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1.jpeg"/><Relationship Id="rId2" Type="http://schemas.openxmlformats.org/officeDocument/2006/relationships/tags" Target="../tags/tag2.xml"/><Relationship Id="rId16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A7353BEA-33AB-480E-8B1C-0055CCEB9C49}"/>
              </a:ext>
            </a:extLst>
          </p:cNvPr>
          <p:cNvGrpSpPr/>
          <p:nvPr userDrawn="1"/>
        </p:nvGrpSpPr>
        <p:grpSpPr>
          <a:xfrm>
            <a:off x="-2" y="5928992"/>
            <a:ext cx="12192000" cy="931555"/>
            <a:chOff x="440362" y="998821"/>
            <a:chExt cx="8026400" cy="931555"/>
          </a:xfrm>
        </p:grpSpPr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E3824B57-74EF-4E21-B00A-2681A9EE6491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6666857" y="1469127"/>
              <a:ext cx="1793875" cy="457200"/>
            </a:xfrm>
            <a:custGeom>
              <a:avLst/>
              <a:gdLst>
                <a:gd name="T0" fmla="*/ 2147483646 w 1191"/>
                <a:gd name="T1" fmla="*/ 0 h 321"/>
                <a:gd name="T2" fmla="*/ 2147483646 w 1191"/>
                <a:gd name="T3" fmla="*/ 2147483646 h 321"/>
                <a:gd name="T4" fmla="*/ 0 w 1191"/>
                <a:gd name="T5" fmla="*/ 2147483646 h 321"/>
                <a:gd name="T6" fmla="*/ 2147483646 w 1191"/>
                <a:gd name="T7" fmla="*/ 0 h 321"/>
                <a:gd name="T8" fmla="*/ 2147483646 w 1191"/>
                <a:gd name="T9" fmla="*/ 0 h 3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91"/>
                <a:gd name="T16" fmla="*/ 0 h 321"/>
                <a:gd name="T17" fmla="*/ 1191 w 1191"/>
                <a:gd name="T18" fmla="*/ 321 h 3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91" h="321">
                  <a:moveTo>
                    <a:pt x="1191" y="0"/>
                  </a:moveTo>
                  <a:lnTo>
                    <a:pt x="1075" y="321"/>
                  </a:lnTo>
                  <a:lnTo>
                    <a:pt x="0" y="321"/>
                  </a:lnTo>
                  <a:lnTo>
                    <a:pt x="115" y="0"/>
                  </a:lnTo>
                  <a:lnTo>
                    <a:pt x="1191" y="0"/>
                  </a:lnTo>
                  <a:close/>
                </a:path>
              </a:pathLst>
            </a:custGeom>
            <a:solidFill>
              <a:srgbClr val="FFCDCD"/>
            </a:solidFill>
            <a:ln w="9525">
              <a:solidFill>
                <a:srgbClr val="C41307">
                  <a:lumMod val="20000"/>
                  <a:lumOff val="80000"/>
                </a:srgbClr>
              </a:solidFill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1A6DA1AF-6A52-4115-A91F-0A4644354D01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5064447" y="1470630"/>
              <a:ext cx="1792224" cy="457200"/>
            </a:xfrm>
            <a:custGeom>
              <a:avLst/>
              <a:gdLst>
                <a:gd name="T0" fmla="*/ 2147483646 w 1191"/>
                <a:gd name="T1" fmla="*/ 0 h 321"/>
                <a:gd name="T2" fmla="*/ 2147483646 w 1191"/>
                <a:gd name="T3" fmla="*/ 2147483646 h 321"/>
                <a:gd name="T4" fmla="*/ 0 w 1191"/>
                <a:gd name="T5" fmla="*/ 2147483646 h 321"/>
                <a:gd name="T6" fmla="*/ 2147483646 w 1191"/>
                <a:gd name="T7" fmla="*/ 0 h 321"/>
                <a:gd name="T8" fmla="*/ 2147483646 w 1191"/>
                <a:gd name="T9" fmla="*/ 0 h 3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91"/>
                <a:gd name="T16" fmla="*/ 0 h 321"/>
                <a:gd name="T17" fmla="*/ 1191 w 1191"/>
                <a:gd name="T18" fmla="*/ 321 h 3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91" h="321">
                  <a:moveTo>
                    <a:pt x="1191" y="0"/>
                  </a:moveTo>
                  <a:lnTo>
                    <a:pt x="1076" y="321"/>
                  </a:lnTo>
                  <a:lnTo>
                    <a:pt x="0" y="321"/>
                  </a:lnTo>
                  <a:lnTo>
                    <a:pt x="116" y="0"/>
                  </a:lnTo>
                  <a:lnTo>
                    <a:pt x="1191" y="0"/>
                  </a:lnTo>
                  <a:close/>
                </a:path>
              </a:pathLst>
            </a:custGeom>
            <a:solidFill>
              <a:srgbClr val="FFCDCD"/>
            </a:solidFill>
            <a:ln w="9525">
              <a:solidFill>
                <a:srgbClr val="C41307">
                  <a:lumMod val="20000"/>
                  <a:lumOff val="80000"/>
                </a:srgbClr>
              </a:solidFill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34026153-9898-4EC3-8A3E-24EBC5C1F28D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448962" y="1460963"/>
              <a:ext cx="1746250" cy="457200"/>
            </a:xfrm>
            <a:custGeom>
              <a:avLst/>
              <a:gdLst>
                <a:gd name="T0" fmla="*/ 2147483646 w 1159"/>
                <a:gd name="T1" fmla="*/ 0 h 321"/>
                <a:gd name="T2" fmla="*/ 2147483646 w 1159"/>
                <a:gd name="T3" fmla="*/ 2147483646 h 321"/>
                <a:gd name="T4" fmla="*/ 0 w 1159"/>
                <a:gd name="T5" fmla="*/ 2147483646 h 321"/>
                <a:gd name="T6" fmla="*/ 0 w 1159"/>
                <a:gd name="T7" fmla="*/ 0 h 321"/>
                <a:gd name="T8" fmla="*/ 2147483646 w 1159"/>
                <a:gd name="T9" fmla="*/ 0 h 3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59"/>
                <a:gd name="T16" fmla="*/ 0 h 321"/>
                <a:gd name="T17" fmla="*/ 1159 w 1159"/>
                <a:gd name="T18" fmla="*/ 321 h 3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59" h="321">
                  <a:moveTo>
                    <a:pt x="1159" y="0"/>
                  </a:moveTo>
                  <a:lnTo>
                    <a:pt x="1043" y="321"/>
                  </a:lnTo>
                  <a:lnTo>
                    <a:pt x="0" y="321"/>
                  </a:lnTo>
                  <a:lnTo>
                    <a:pt x="0" y="0"/>
                  </a:lnTo>
                  <a:lnTo>
                    <a:pt x="1159" y="0"/>
                  </a:lnTo>
                  <a:close/>
                </a:path>
              </a:pathLst>
            </a:custGeom>
            <a:solidFill>
              <a:srgbClr val="4877BB">
                <a:lumMod val="75000"/>
              </a:srgbClr>
            </a:solidFill>
            <a:ln w="9525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0EE99B42-5F74-47A3-BE37-4955C720F1A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3580637" y="1473176"/>
              <a:ext cx="1637720" cy="457200"/>
            </a:xfrm>
            <a:custGeom>
              <a:avLst/>
              <a:gdLst>
                <a:gd name="T0" fmla="*/ 2147483646 w 1159"/>
                <a:gd name="T1" fmla="*/ 0 h 321"/>
                <a:gd name="T2" fmla="*/ 2147483646 w 1159"/>
                <a:gd name="T3" fmla="*/ 2147483646 h 321"/>
                <a:gd name="T4" fmla="*/ 0 w 1159"/>
                <a:gd name="T5" fmla="*/ 2147483646 h 321"/>
                <a:gd name="T6" fmla="*/ 2147483646 w 1159"/>
                <a:gd name="T7" fmla="*/ 0 h 321"/>
                <a:gd name="T8" fmla="*/ 2147483646 w 1159"/>
                <a:gd name="T9" fmla="*/ 0 h 3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59"/>
                <a:gd name="T16" fmla="*/ 0 h 321"/>
                <a:gd name="T17" fmla="*/ 1159 w 1159"/>
                <a:gd name="T18" fmla="*/ 321 h 3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59" h="321">
                  <a:moveTo>
                    <a:pt x="1159" y="0"/>
                  </a:moveTo>
                  <a:lnTo>
                    <a:pt x="1043" y="321"/>
                  </a:lnTo>
                  <a:lnTo>
                    <a:pt x="0" y="321"/>
                  </a:lnTo>
                  <a:lnTo>
                    <a:pt x="116" y="0"/>
                  </a:lnTo>
                  <a:lnTo>
                    <a:pt x="1159" y="0"/>
                  </a:lnTo>
                  <a:close/>
                </a:path>
              </a:pathLst>
            </a:custGeom>
            <a:solidFill>
              <a:srgbClr val="4877BB">
                <a:lumMod val="75000"/>
              </a:srgbClr>
            </a:solidFill>
            <a:ln w="9525">
              <a:solidFill>
                <a:srgbClr val="4877BB"/>
              </a:solidFill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9EBE94A5-F59F-424D-B162-8E7FD16CFADB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2022175" y="1463895"/>
              <a:ext cx="1743075" cy="457200"/>
            </a:xfrm>
            <a:custGeom>
              <a:avLst/>
              <a:gdLst>
                <a:gd name="T0" fmla="*/ 2147483646 w 1159"/>
                <a:gd name="T1" fmla="*/ 0 h 321"/>
                <a:gd name="T2" fmla="*/ 2147483646 w 1159"/>
                <a:gd name="T3" fmla="*/ 2147483646 h 321"/>
                <a:gd name="T4" fmla="*/ 0 w 1159"/>
                <a:gd name="T5" fmla="*/ 2147483646 h 321"/>
                <a:gd name="T6" fmla="*/ 2147483646 w 1159"/>
                <a:gd name="T7" fmla="*/ 0 h 321"/>
                <a:gd name="T8" fmla="*/ 2147483646 w 1159"/>
                <a:gd name="T9" fmla="*/ 0 h 3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59"/>
                <a:gd name="T16" fmla="*/ 0 h 321"/>
                <a:gd name="T17" fmla="*/ 1159 w 1159"/>
                <a:gd name="T18" fmla="*/ 321 h 3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59" h="321">
                  <a:moveTo>
                    <a:pt x="1159" y="0"/>
                  </a:moveTo>
                  <a:lnTo>
                    <a:pt x="1043" y="321"/>
                  </a:lnTo>
                  <a:lnTo>
                    <a:pt x="0" y="321"/>
                  </a:lnTo>
                  <a:lnTo>
                    <a:pt x="116" y="0"/>
                  </a:lnTo>
                  <a:lnTo>
                    <a:pt x="1159" y="0"/>
                  </a:lnTo>
                  <a:close/>
                </a:path>
              </a:pathLst>
            </a:custGeom>
            <a:solidFill>
              <a:srgbClr val="4877BB">
                <a:lumMod val="75000"/>
              </a:srgbClr>
            </a:solidFill>
            <a:ln w="9525">
              <a:solidFill>
                <a:srgbClr val="4877BB"/>
              </a:solidFill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B6106531-A07B-433D-A480-0CBBED394C8D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448962" y="1465464"/>
              <a:ext cx="1746250" cy="457200"/>
            </a:xfrm>
            <a:custGeom>
              <a:avLst/>
              <a:gdLst>
                <a:gd name="T0" fmla="*/ 2147483646 w 1159"/>
                <a:gd name="T1" fmla="*/ 0 h 321"/>
                <a:gd name="T2" fmla="*/ 2147483646 w 1159"/>
                <a:gd name="T3" fmla="*/ 2147483646 h 321"/>
                <a:gd name="T4" fmla="*/ 0 w 1159"/>
                <a:gd name="T5" fmla="*/ 2147483646 h 321"/>
                <a:gd name="T6" fmla="*/ 0 w 1159"/>
                <a:gd name="T7" fmla="*/ 0 h 321"/>
                <a:gd name="T8" fmla="*/ 2147483646 w 1159"/>
                <a:gd name="T9" fmla="*/ 0 h 3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59"/>
                <a:gd name="T16" fmla="*/ 0 h 321"/>
                <a:gd name="T17" fmla="*/ 1159 w 1159"/>
                <a:gd name="T18" fmla="*/ 321 h 3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59" h="321">
                  <a:moveTo>
                    <a:pt x="1159" y="0"/>
                  </a:moveTo>
                  <a:lnTo>
                    <a:pt x="1043" y="321"/>
                  </a:lnTo>
                  <a:lnTo>
                    <a:pt x="0" y="321"/>
                  </a:lnTo>
                  <a:lnTo>
                    <a:pt x="0" y="0"/>
                  </a:lnTo>
                  <a:lnTo>
                    <a:pt x="1159" y="0"/>
                  </a:lnTo>
                  <a:close/>
                </a:path>
              </a:pathLst>
            </a:custGeom>
            <a:solidFill>
              <a:srgbClr val="4877BB">
                <a:lumMod val="75000"/>
              </a:srgbClr>
            </a:solidFill>
            <a:ln w="9525">
              <a:solidFill>
                <a:srgbClr val="4877BB"/>
              </a:solidFill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15">
              <a:extLst>
                <a:ext uri="{FF2B5EF4-FFF2-40B4-BE49-F238E27FC236}">
                  <a16:creationId xmlns:a16="http://schemas.microsoft.com/office/drawing/2014/main" id="{FAEA5698-8D25-4E7B-B826-7EB83445C5B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54691" y="1580607"/>
              <a:ext cx="264774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887" tIns="0" rIns="3887" bIns="0" anchor="ctr">
              <a:spAutoFit/>
            </a:bodyPr>
            <a:lstStyle/>
            <a:p>
              <a:pPr marL="234950" marR="0" lvl="0" indent="-234950" algn="ctr" defTabSz="91440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rPr>
                <a:t>Sort</a:t>
              </a:r>
            </a:p>
          </p:txBody>
        </p:sp>
        <p:sp>
          <p:nvSpPr>
            <p:cNvPr id="15" name="Rectangle 17">
              <a:extLst>
                <a:ext uri="{FF2B5EF4-FFF2-40B4-BE49-F238E27FC236}">
                  <a16:creationId xmlns:a16="http://schemas.microsoft.com/office/drawing/2014/main" id="{15EB1F45-F7CE-45F2-B5A6-A8AA4B40A62A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4256524" y="1580607"/>
              <a:ext cx="352365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887" tIns="0" rIns="3887" bIns="0" anchor="ctr">
              <a:spAutoFit/>
            </a:bodyPr>
            <a:lstStyle/>
            <a:p>
              <a:pPr marL="234950" marR="0" lvl="0" indent="-234950" algn="ctr" defTabSz="91440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rPr>
                <a:t>Shine</a:t>
              </a:r>
            </a:p>
          </p:txBody>
        </p:sp>
        <p:sp>
          <p:nvSpPr>
            <p:cNvPr id="16" name="Rectangle 18">
              <a:extLst>
                <a:ext uri="{FF2B5EF4-FFF2-40B4-BE49-F238E27FC236}">
                  <a16:creationId xmlns:a16="http://schemas.microsoft.com/office/drawing/2014/main" id="{6B41F956-49C9-4EB8-AD86-060E8D1F703E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5543567" y="1569032"/>
              <a:ext cx="750217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887" tIns="0" rIns="3887" bIns="0" anchor="ctr">
              <a:spAutoFit/>
            </a:bodyPr>
            <a:lstStyle/>
            <a:p>
              <a:pPr marL="234950" marR="0" lvl="0" indent="-234950" algn="ctr" defTabSz="91440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</a:rPr>
                <a:t>Standardize</a:t>
              </a:r>
            </a:p>
          </p:txBody>
        </p:sp>
        <p:sp>
          <p:nvSpPr>
            <p:cNvPr id="17" name="Rectangle 19">
              <a:extLst>
                <a:ext uri="{FF2B5EF4-FFF2-40B4-BE49-F238E27FC236}">
                  <a16:creationId xmlns:a16="http://schemas.microsoft.com/office/drawing/2014/main" id="{DB91A367-4789-47B8-A684-40D59E95C2C4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373317" y="1569032"/>
              <a:ext cx="464228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887" tIns="0" rIns="3887" bIns="0" anchor="ctr">
              <a:spAutoFit/>
            </a:bodyPr>
            <a:lstStyle/>
            <a:p>
              <a:pPr marL="234950" marR="0" lvl="0" indent="-234950" algn="ctr" defTabSz="91440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</a:rPr>
                <a:t>Sustain</a:t>
              </a: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1A917728-3B17-4857-9084-3494709A11DB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440362" y="998821"/>
              <a:ext cx="4887913" cy="457200"/>
            </a:xfrm>
            <a:custGeom>
              <a:avLst/>
              <a:gdLst>
                <a:gd name="T0" fmla="*/ 0 w 3245"/>
                <a:gd name="T1" fmla="*/ 0 h 321"/>
                <a:gd name="T2" fmla="*/ 2147483646 w 3245"/>
                <a:gd name="T3" fmla="*/ 0 h 321"/>
                <a:gd name="T4" fmla="*/ 2147483646 w 3245"/>
                <a:gd name="T5" fmla="*/ 2147483646 h 321"/>
                <a:gd name="T6" fmla="*/ 0 w 3245"/>
                <a:gd name="T7" fmla="*/ 2147483646 h 321"/>
                <a:gd name="T8" fmla="*/ 0 w 3245"/>
                <a:gd name="T9" fmla="*/ 0 h 3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245"/>
                <a:gd name="T16" fmla="*/ 0 h 321"/>
                <a:gd name="T17" fmla="*/ 3245 w 3245"/>
                <a:gd name="T18" fmla="*/ 321 h 3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245" h="321">
                  <a:moveTo>
                    <a:pt x="0" y="0"/>
                  </a:moveTo>
                  <a:lnTo>
                    <a:pt x="3129" y="0"/>
                  </a:lnTo>
                  <a:lnTo>
                    <a:pt x="3245" y="321"/>
                  </a:lnTo>
                  <a:lnTo>
                    <a:pt x="0" y="3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66"/>
            </a:solidFill>
            <a:ln w="9525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8">
              <a:extLst>
                <a:ext uri="{FF2B5EF4-FFF2-40B4-BE49-F238E27FC236}">
                  <a16:creationId xmlns:a16="http://schemas.microsoft.com/office/drawing/2014/main" id="{B837247F-DDB5-4382-9A8E-0F17A932EA8B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483276" y="1127578"/>
              <a:ext cx="4616450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87" tIns="0" rIns="3887" bIns="0" anchor="ctr">
              <a:spAutoFit/>
            </a:bodyPr>
            <a:lstStyle/>
            <a:p>
              <a:pPr marL="234950" marR="0" lvl="0" indent="-234950" algn="ctr" defTabSz="91440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rPr>
                <a:t>Understand, Identify &amp; Eliminate Waste</a:t>
              </a: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2D6527CA-6D0F-4FBB-B060-75EBF13DAC2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5052050" y="998821"/>
              <a:ext cx="3414712" cy="457200"/>
            </a:xfrm>
            <a:custGeom>
              <a:avLst/>
              <a:gdLst>
                <a:gd name="T0" fmla="*/ 0 w 2267"/>
                <a:gd name="T1" fmla="*/ 0 h 321"/>
                <a:gd name="T2" fmla="*/ 2147483646 w 2267"/>
                <a:gd name="T3" fmla="*/ 0 h 321"/>
                <a:gd name="T4" fmla="*/ 2147483646 w 2267"/>
                <a:gd name="T5" fmla="*/ 2147483646 h 321"/>
                <a:gd name="T6" fmla="*/ 2147483646 w 2267"/>
                <a:gd name="T7" fmla="*/ 2147483646 h 321"/>
                <a:gd name="T8" fmla="*/ 0 w 2267"/>
                <a:gd name="T9" fmla="*/ 0 h 3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67"/>
                <a:gd name="T16" fmla="*/ 0 h 321"/>
                <a:gd name="T17" fmla="*/ 2267 w 2267"/>
                <a:gd name="T18" fmla="*/ 321 h 3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67" h="321">
                  <a:moveTo>
                    <a:pt x="0" y="0"/>
                  </a:moveTo>
                  <a:lnTo>
                    <a:pt x="2151" y="0"/>
                  </a:lnTo>
                  <a:lnTo>
                    <a:pt x="2267" y="321"/>
                  </a:lnTo>
                  <a:lnTo>
                    <a:pt x="116" y="3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1307">
                <a:lumMod val="75000"/>
              </a:srgbClr>
            </a:solidFill>
            <a:ln w="9525">
              <a:solidFill>
                <a:srgbClr val="C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Rectangle 12">
              <a:extLst>
                <a:ext uri="{FF2B5EF4-FFF2-40B4-BE49-F238E27FC236}">
                  <a16:creationId xmlns:a16="http://schemas.microsoft.com/office/drawing/2014/main" id="{6F54BCB6-8265-4362-BFC5-3AAD81110BBC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5271787" y="1127137"/>
              <a:ext cx="3028950" cy="2613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87" tIns="0" rIns="3887" bIns="0" anchor="ctr"/>
            <a:lstStyle/>
            <a:p>
              <a:pPr marL="234950" marR="0" lvl="0" indent="-234950" algn="ctr" defTabSz="91440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rPr>
                <a:t>Continuously Improve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4F198F0-A2AD-4D3B-B616-C7EDAE86A459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2517019" y="1584444"/>
              <a:ext cx="760770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887" tIns="0" rIns="3887" bIns="0" anchor="ctr">
              <a:spAutoFit/>
            </a:bodyPr>
            <a:lstStyle/>
            <a:p>
              <a:pPr marL="234950" marR="0" lvl="0" indent="-234950" algn="ctr" defTabSz="91440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rPr>
                <a:t>Set in Order</a:t>
              </a:r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98AC18DF-AA06-4E91-9255-6CADAF5A2014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0764" y="13063"/>
            <a:ext cx="2189011" cy="2194108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28677C-DAA4-461E-A6EB-EA82A59AF7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212080" y="849697"/>
            <a:ext cx="4702965" cy="339929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After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5CF0C489-1BA4-4475-BE9F-C5CE12E8796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22905" y="857954"/>
            <a:ext cx="4827555" cy="339675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Befo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F9BCF72-95AD-46A7-A827-56527F2FB8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2117" y="52252"/>
            <a:ext cx="5243513" cy="679450"/>
          </a:xfrm>
        </p:spPr>
        <p:txBody>
          <a:bodyPr>
            <a:normAutofit/>
          </a:bodyPr>
          <a:lstStyle>
            <a:lvl1pPr marL="0" indent="0" algn="ctr">
              <a:buNone/>
              <a:defRPr sz="4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ocation</a:t>
            </a:r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EA017CFB-AF74-4A9B-A011-EBC2F5EA4FD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2250" y="4380368"/>
            <a:ext cx="8137525" cy="1381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Description of Improvement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87CD86D-279F-4628-9C78-9E8D4D636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751888" y="4379913"/>
            <a:ext cx="3187700" cy="1381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act Details</a:t>
            </a:r>
          </a:p>
          <a:p>
            <a:pPr lvl="0"/>
            <a:r>
              <a:rPr lang="en-US" dirty="0"/>
              <a:t>Name / Phone Numb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3979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8CDFCE-9A21-4B59-B4D3-AD036CBAC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1BC6162-47EA-4C90-9C10-9F7D16AB4B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28B165-4D26-4A54-9630-6F7B6EAB11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06A2E-4882-42A8-813A-60327A7F4F99}" type="datetimeFigureOut">
              <a:rPr lang="en-GB" smtClean="0"/>
              <a:t>15/04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7C4FFF-67A0-4691-A94A-3FD1D19B64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280133-6207-455A-9182-A4828C104A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ACBF4-F974-4E35-84A4-3AA56C2BDBB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6892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A26F49B-69AB-4FA7-8918-DDFD0D1E7E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637B8B1-34B2-41FB-A1D8-F8999845C06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5C062B-54FF-4743-BFA3-B5AE096C7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06A2E-4882-42A8-813A-60327A7F4F99}" type="datetimeFigureOut">
              <a:rPr lang="en-GB" smtClean="0"/>
              <a:t>15/04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B51021-2491-4E03-9BE4-95D32CD1FC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69720F-3CF0-43C9-BA75-75814CF037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ACBF4-F974-4E35-84A4-3AA56C2BDBB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12204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D71664-3AFD-48E3-8380-DA44708421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2A5574-4269-4BE8-8CBD-EAE6EC2A17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256DC8-335F-4438-ADDB-E019953F0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06A2E-4882-42A8-813A-60327A7F4F99}" type="datetimeFigureOut">
              <a:rPr lang="en-GB" smtClean="0"/>
              <a:t>15/04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97A177-AED9-4A26-8105-5ADB775F95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6CE1CD-5C4F-41E4-8512-1C6A86E4E2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ACBF4-F974-4E35-84A4-3AA56C2BDBB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90762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33D7DF-8238-4B33-A244-98ED83D6D9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1EFB9B-4812-4632-A95B-858BECE7DF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F823CD-68C4-47F5-B98D-EB49700581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06A2E-4882-42A8-813A-60327A7F4F99}" type="datetimeFigureOut">
              <a:rPr lang="en-GB" smtClean="0"/>
              <a:t>15/04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D9731E-69D0-4AA8-89D9-D3D2CB1325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33CEFE-DA46-46EE-AF20-6A15401812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ACBF4-F974-4E35-84A4-3AA56C2BDBB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71229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93DB33-F7BA-4C4F-8DC6-EB8A30243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7FDE2F-5BEE-463D-8F2A-AE4C0E336F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D29CC1-26DC-4320-9300-244ADA6ADD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ABDD93-0D94-4DD2-9591-520C56370A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06A2E-4882-42A8-813A-60327A7F4F99}" type="datetimeFigureOut">
              <a:rPr lang="en-GB" smtClean="0"/>
              <a:t>15/04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F81E81A-89E9-47D2-A2B9-1E230FD2E7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FFDB9C-4BC4-4EF8-A272-DE34065FA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ACBF4-F974-4E35-84A4-3AA56C2BDBB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140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CCE6C2-FAD4-4DA0-AB0D-92ED007BE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1F5144-203E-48AF-97BF-DFB8C016C2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AA33B1-7E63-4992-9C69-7B112E29D4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DC93906-664D-4D0A-9C77-4333B0EFE0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CB261E-BBE4-4D4A-8C4F-AE0BABF0AD6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48C0BAD-EDE4-450B-ADB7-986D46591D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06A2E-4882-42A8-813A-60327A7F4F99}" type="datetimeFigureOut">
              <a:rPr lang="en-GB" smtClean="0"/>
              <a:t>15/04/2026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9F755F-AB02-417B-90D1-7C6EDD7393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B988247-0106-4759-9A3D-A08DCBA70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ACBF4-F974-4E35-84A4-3AA56C2BDBB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77943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755621-6FF6-40DF-8923-52C3BE0D3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0FA5F72-CF2D-4711-A5CC-D030A129CB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06A2E-4882-42A8-813A-60327A7F4F99}" type="datetimeFigureOut">
              <a:rPr lang="en-GB" smtClean="0"/>
              <a:t>15/04/2026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6DE5EC-ACCE-4E79-994F-5388EE726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772A10-5C52-4D6B-8D0C-6FC3D441E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ACBF4-F974-4E35-84A4-3AA56C2BDBB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91455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F6003F-0EDC-490C-9580-3AEEB00F20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06A2E-4882-42A8-813A-60327A7F4F99}" type="datetimeFigureOut">
              <a:rPr lang="en-GB" smtClean="0"/>
              <a:t>15/04/2026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B9ADDD-7A8F-4100-B25A-74BBA94457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F71C7C-9F1D-43B3-A7DF-914E7F0130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ACBF4-F974-4E35-84A4-3AA56C2BDBB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9871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9C79D1-3822-4DC7-9A7D-CFE993EB05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5D2A47-0892-4CC9-A11E-199C7B7606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C141EF-7380-41CF-9B1E-7E249590CF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9C50C5-56F5-4475-B520-9D538EA5EF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06A2E-4882-42A8-813A-60327A7F4F99}" type="datetimeFigureOut">
              <a:rPr lang="en-GB" smtClean="0"/>
              <a:t>15/04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E3FA8E-DD31-4825-BD41-6A37F2D8A6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E6D1D2-F072-4E49-A34A-467198F67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ACBF4-F974-4E35-84A4-3AA56C2BDBB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94686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12AE9E-4F74-4170-85C2-8E2A0C13D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C1B9808-CED5-4A0F-888D-4B123575AF9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3BE89C-7F09-414E-90C7-60D8158612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87DE23-2DFF-46BF-80B7-DA027DD3F5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06A2E-4882-42A8-813A-60327A7F4F99}" type="datetimeFigureOut">
              <a:rPr lang="en-GB" smtClean="0"/>
              <a:t>15/04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CD442C-1AD9-471F-84F0-FCA766B85B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7ADA3F-68D8-4E27-A260-55566325DE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ACBF4-F974-4E35-84A4-3AA56C2BDBB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29554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263BC73-9D3D-405D-88D6-46445DE69E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43DE00-A568-40F1-BD01-5DF157A1D7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DB3B08-79E3-4BBF-8DD4-EAECD8E71E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C06A2E-4882-42A8-813A-60327A7F4F99}" type="datetimeFigureOut">
              <a:rPr lang="en-GB" smtClean="0"/>
              <a:t>15/04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B07DEB-274C-419D-B9A9-9D89975E27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BA627B-7A97-4A3C-9467-E7453130F7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BACBF4-F974-4E35-84A4-3AA56C2BDBB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066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E67059-7422-4B84-8C2C-367252AD98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24391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DC3502-9615-64C8-50EE-E6C5A9F2D6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83409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  <p:tag name="THINKCELLSHAPEDONOTDELETE" val="VQs3kAZDW0iLrjqcuxapL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  <p:tag name="THINKCELLSHAPEDONOTDELETE" val="_toXd4xX202hLYSyX8GQ0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  <p:tag name="THINKCELLSHAPEDONOTDELETE" val="EROHstjvuUi.ndEUMCux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  <p:tag name="THINKCELLSHAPEDONOTDELETE" val="irkaD69I5k2M3yZ3chwZ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  <p:tag name="THINKCELLSHAPEDONOTDELETE" val="_YfUhtkUYU.SXvaEcSXF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  <p:tag name="THINKCELLSHAPEDONOTDELETE" val="qFlqFDcksUGB3O_2voX2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  <p:tag name="THINKCELLSHAPEDONOTDELETE" val="06m4B2UwgEWPbw0wD4Sk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  <p:tag name="THINKCELLSHAPEDONOTDELETE" val="mKSDIX.QqUeDBq15T_lp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  <p:tag name="THINKCELLSHAPEDONOTDELETE" val="rnO0xHdZJkOY4ew6u75w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BoatBottomShape"/>
  <p:tag name="THINKCELLSHAPEDONOTDELETE" val="jRXe4VEq1kanYQVb_dO4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  <p:tag name="THINKCELLSHAPEDONOTDELETE" val="YZz4tnEFVkGVHBFrgra2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  <p:tag name="THINKCELLSHAPEDONOTDELETE" val="rnO0xHdZJkOY4ew6u75w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  <p:tag name="THINKCELLSHAPEDONOTDELETE" val="XGhXiS4VzEWZGKlALHVO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BoatBottomText"/>
  <p:tag name="THINKCELLSHAPEDONOTDELETE" val="JvYAWm64qkeNVIAD8rtn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  <p:tag name="THINKCELLSHAPEDONOTDELETE" val="Z3BKstM83US7ZLxzrOhXR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5S Template" id="{5228CCEF-60C6-4F96-83A9-9D073E431D31}" vid="{3F098CBA-A42C-467F-B356-2ABF6287985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23553B2BEEB7449A985D5658CE756BD" ma:contentTypeVersion="25" ma:contentTypeDescription="Create a new document." ma:contentTypeScope="" ma:versionID="0e5add1c95b9bf12e13dcdc0308e1226">
  <xsd:schema xmlns:xsd="http://www.w3.org/2001/XMLSchema" xmlns:xs="http://www.w3.org/2001/XMLSchema" xmlns:p="http://schemas.microsoft.com/office/2006/metadata/properties" xmlns:ns1="http://schemas.microsoft.com/sharepoint/v3" xmlns:ns2="b4c597e9-73a3-4571-a622-8c711933295a" xmlns:ns3="5b4bd610-a880-4e6e-894d-bf3b30aeefc6" targetNamespace="http://schemas.microsoft.com/office/2006/metadata/properties" ma:root="true" ma:fieldsID="e34218d3fc523f17c0ef05ab8e10e5a8" ns1:_="" ns2:_="" ns3:_="">
    <xsd:import namespace="http://schemas.microsoft.com/sharepoint/v3"/>
    <xsd:import namespace="b4c597e9-73a3-4571-a622-8c711933295a"/>
    <xsd:import namespace="5b4bd610-a880-4e6e-894d-bf3b30aeefc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3:TaxCatchAll" minOccurs="0"/>
                <xsd:element ref="ns2:lcf76f155ced4ddcb4097134ff3c332f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c597e9-73a3-4571-a622-8c71193329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5" nillable="true" ma:taxonomy="true" ma:internalName="lcf76f155ced4ddcb4097134ff3c332f" ma:taxonomyFieldName="MediaServiceImageTags" ma:displayName="Image Tags" ma:readOnly="false" ma:fieldId="{5cf76f15-5ced-4ddc-b409-7134ff3c332f}" ma:taxonomyMulti="true" ma:sspId="75b7dcf2-c6da-42da-b577-b542f55746c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8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4bd610-a880-4e6e-894d-bf3b30aeefc6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3b24818e-35c7-4da9-a134-c79ac6e25ad2}" ma:internalName="TaxCatchAll" ma:showField="CatchAllData" ma:web="5b4bd610-a880-4e6e-894d-bf3b30aeefc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TaxCatchAll xmlns="5b4bd610-a880-4e6e-894d-bf3b30aeefc6" xsi:nil="true"/>
    <lcf76f155ced4ddcb4097134ff3c332f xmlns="b4c597e9-73a3-4571-a622-8c711933295a">
      <Terms xmlns="http://schemas.microsoft.com/office/infopath/2007/PartnerControls"/>
    </lcf76f155ced4ddcb4097134ff3c332f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5F7A9F1F-403C-4E48-8BD0-B5934075F1F6}"/>
</file>

<file path=customXml/itemProps2.xml><?xml version="1.0" encoding="utf-8"?>
<ds:datastoreItem xmlns:ds="http://schemas.openxmlformats.org/officeDocument/2006/customXml" ds:itemID="{25215B4B-8B05-47B3-8012-BBAA64C7B09F}"/>
</file>

<file path=customXml/itemProps3.xml><?xml version="1.0" encoding="utf-8"?>
<ds:datastoreItem xmlns:ds="http://schemas.openxmlformats.org/officeDocument/2006/customXml" ds:itemID="{6FE53DDA-FC5B-4DA1-916A-83EABD784951}"/>
</file>

<file path=docMetadata/LabelInfo.xml><?xml version="1.0" encoding="utf-8"?>
<clbl:labelList xmlns:clbl="http://schemas.microsoft.com/office/2020/mipLabelMetadata">
  <clbl:label id="{c33f049c-059e-4077-8401-8aceac0515e7}" enabled="1" method="Standard" siteId="{6ee19001-d0c4-45f8-af8b-ff00f16d07e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Jan 2020</Template>
  <TotalTime>0</TotalTime>
  <Words>0</Words>
  <Application>Microsoft Office PowerPoint</Application>
  <PresentationFormat>Widescreen</PresentationFormat>
  <Paragraphs>0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Wingdings</vt:lpstr>
      <vt:lpstr>Office Them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ul Dale</dc:creator>
  <cp:lastModifiedBy>Sonny Netto</cp:lastModifiedBy>
  <cp:revision>29</cp:revision>
  <dcterms:created xsi:type="dcterms:W3CDTF">2020-01-22T11:10:57Z</dcterms:created>
  <dcterms:modified xsi:type="dcterms:W3CDTF">2026-04-15T07:2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3553B2BEEB7449A985D5658CE756BD</vt:lpwstr>
  </property>
</Properties>
</file>